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60" r:id="rId6"/>
    <p:sldId id="840" r:id="rId7"/>
    <p:sldId id="859" r:id="rId8"/>
    <p:sldId id="848" r:id="rId9"/>
    <p:sldId id="849" r:id="rId10"/>
    <p:sldId id="850" r:id="rId11"/>
    <p:sldId id="851" r:id="rId12"/>
    <p:sldId id="852" r:id="rId13"/>
    <p:sldId id="853" r:id="rId14"/>
    <p:sldId id="856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2" autoAdjust="0"/>
    <p:restoredTop sz="94651" autoAdjust="0"/>
  </p:normalViewPr>
  <p:slideViewPr>
    <p:cSldViewPr snapToGrid="0" showGuides="1">
      <p:cViewPr varScale="1">
        <p:scale>
          <a:sx n="92" d="100"/>
          <a:sy n="92" d="100"/>
        </p:scale>
        <p:origin x="-708" y="-102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3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7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9788294"/>
      </p:ext>
    </p:extLst>
  </p:cSld>
  <p:clrMapOvr>
    <a:masterClrMapping/>
  </p:clrMapOvr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2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theme/theme1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10" Target="../slideLayouts/slideLayout10.xml" Type="http://schemas.openxmlformats.org/officeDocument/2006/relationships/slideLayout"/><Relationship Id="rId19" Target="../tags/tag3.xml" Type="http://schemas.openxmlformats.org/officeDocument/2006/relationships/tags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3.xml" Type="http://schemas.openxmlformats.org/officeDocument/2006/relationships/slideLayout"/><Relationship Id="rId13" Target="../slideLayouts/slideLayout28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8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2.xml" Type="http://schemas.openxmlformats.org/officeDocument/2006/relationships/slideLayout"/><Relationship Id="rId12" Target="../slideLayouts/slideLayout27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7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6.xml" Type="http://schemas.openxmlformats.org/officeDocument/2006/relationships/slideLayout"/><Relationship Id="rId6" Target="../slideLayouts/slideLayout21.xml" Type="http://schemas.openxmlformats.org/officeDocument/2006/relationships/slideLayout"/><Relationship Id="rId11" Target="../slideLayouts/slideLayout26.xml" Type="http://schemas.openxmlformats.org/officeDocument/2006/relationships/slideLayout"/><Relationship Id="rId5" Target="../slideLayouts/slideLayout20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5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9.xml" Type="http://schemas.openxmlformats.org/officeDocument/2006/relationships/slideLayout"/><Relationship Id="rId9" Target="../slideLayouts/slideLayout24.xml" Type="http://schemas.openxmlformats.org/officeDocument/2006/relationships/slideLayout"/><Relationship Id="rId14" Target="../slideLayouts/slideLayout29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7.xml" Type="http://schemas.openxmlformats.org/officeDocument/2006/relationships/slideLayout"/><Relationship Id="rId13" Target="../slideLayouts/slideLayout42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2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6.xml" Type="http://schemas.openxmlformats.org/officeDocument/2006/relationships/slideLayout"/><Relationship Id="rId12" Target="../slideLayouts/slideLayout41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1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30.xml" Type="http://schemas.openxmlformats.org/officeDocument/2006/relationships/slideLayout"/><Relationship Id="rId6" Target="../slideLayouts/slideLayout35.xml" Type="http://schemas.openxmlformats.org/officeDocument/2006/relationships/slideLayout"/><Relationship Id="rId11" Target="../slideLayouts/slideLayout40.xml" Type="http://schemas.openxmlformats.org/officeDocument/2006/relationships/slideLayout"/><Relationship Id="rId5" Target="../slideLayouts/slideLayout34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9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3.xml" Type="http://schemas.openxmlformats.org/officeDocument/2006/relationships/slideLayout"/><Relationship Id="rId9" Target="../slideLayouts/slideLayout38.xml" Type="http://schemas.openxmlformats.org/officeDocument/2006/relationships/slideLayout"/><Relationship Id="rId14" Target="../slideLayouts/slideLayout43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1.xml" Type="http://schemas.openxmlformats.org/officeDocument/2006/relationships/slideLayout"/><Relationship Id="rId13" Target="../slideLayouts/slideLayout56.xml" Type="http://schemas.openxmlformats.org/officeDocument/2006/relationships/slideLayout"/><Relationship Id="rId18" Target="../tags/tag87.xml" Type="http://schemas.openxmlformats.org/officeDocument/2006/relationships/tags"/><Relationship Id="rId3" Target="../slideLayouts/slideLayout46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50.xml" Type="http://schemas.openxmlformats.org/officeDocument/2006/relationships/slideLayout"/><Relationship Id="rId12" Target="../slideLayouts/slideLayout55.xml" Type="http://schemas.openxmlformats.org/officeDocument/2006/relationships/slideLayout"/><Relationship Id="rId17" Target="../tags/tag86.xml" Type="http://schemas.openxmlformats.org/officeDocument/2006/relationships/tags"/><Relationship Id="rId2" Target="../slideLayouts/slideLayout45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44.xml" Type="http://schemas.openxmlformats.org/officeDocument/2006/relationships/slideLayout"/><Relationship Id="rId6" Target="../slideLayouts/slideLayout49.xml" Type="http://schemas.openxmlformats.org/officeDocument/2006/relationships/slideLayout"/><Relationship Id="rId11" Target="../slideLayouts/slideLayout54.xml" Type="http://schemas.openxmlformats.org/officeDocument/2006/relationships/slideLayout"/><Relationship Id="rId5" Target="../slideLayouts/slideLayout48.xml" Type="http://schemas.openxmlformats.org/officeDocument/2006/relationships/slideLayout"/><Relationship Id="rId15" Target="../theme/theme4.xml" Type="http://schemas.openxmlformats.org/officeDocument/2006/relationships/theme"/><Relationship Id="rId10" Target="../slideLayouts/slideLayout53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7.xml" Type="http://schemas.openxmlformats.org/officeDocument/2006/relationships/slideLayout"/><Relationship Id="rId9" Target="../slideLayouts/slideLayout52.xml" Type="http://schemas.openxmlformats.org/officeDocument/2006/relationships/slideLayout"/><Relationship Id="rId14" Target="../slideLayouts/slideLayout57.xml" Type="http://schemas.openxmlformats.org/officeDocument/2006/relationships/slideLayout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15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2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3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4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4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5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5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6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7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7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8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1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92509"/>
            <a:ext cx="4566213" cy="4185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 сопряжением горных выработок понимают ту область массива горных пород, в которой проявляется взаимное влияние двух или большего числа пересекающихся выработок. На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норазведочных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работах встречаются различные пересечения выработок, в том числе горизонтальных: различных вы-работок околоствольных дворов в разведочных шахтах, квершлагов со штреками, штольни со штреками, рассечек со штольнями, штреками и т. д.</a:t>
            </a:r>
          </a:p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форме в плане сопряжения горизонтальных выработок (рис. 3.9) подразделяются на прямоугольные и остроугольные пересечения, прямоугольные и остроугольные ответвления, разветвления под углом и по кривым, сопряжения «треугольный узел», тупоугольные и прямоугольные примыкания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6FA6EEC-DB3C-2E2A-2AA7-176BA668776B}"/>
              </a:ext>
            </a:extLst>
          </p:cNvPr>
          <p:cNvSpPr txBox="1"/>
          <p:nvPr/>
        </p:nvSpPr>
        <p:spPr>
          <a:xfrm>
            <a:off x="4982903" y="5082772"/>
            <a:ext cx="7135790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9 – Основные типы сопряжений горизонтальных разведочных выработок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и б — соответственно прямоугольное и остроугольное пересечения; е и г — соответственно прямоугольное и остроугольное ответвления; д, ж и з — разветвления по кривым; е — разветвление под углом; и — сопряжение «треугольный узел», к и л — соответственно прямоугольное и тупоугольное примыкан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652E8C9-5A23-BE94-F09C-1CA629FFB5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3932" y="1971715"/>
            <a:ext cx="4439285" cy="27178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7229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425158" y="4552538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1 – Открытые горные выработки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— канава; б — траншея; в — карьер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7" y="629617"/>
            <a:ext cx="6207242" cy="5909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ные выработки - это инженерные работы, направленные на создание подземных проходов, штреков, штольней и других пустот в горных породах. Эти выработки могут использоваться в различных отраслях, включая горную промышленность, строительство и инфраструктурные проекты. Вот общие сведения о проведении горных выработок: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каждого понятия установлен один стандартизованный термин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ведочные горные выработки проводят с целью поисков месторождения, определения запасов и характера залегания полезного ископаемого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ксплуатационные горные выработки проводят для добычи полезного ископаемого открытым или подземным способом. Они делятся на капитальные, подготовительные и очистные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ой — поверхность полезного ископаемого или вмещающих его пород, перемещающаяся в пространстве в процессе проходки выработки. Поверхности горных пород, ограничивающие выработку с боков, называют боковыми стенками (сверху — кровлей выработки, а снизу — ее подошвой или почвой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ой выработки в зависимости от направления проходки (вниз, по горизонтали или вверх) может располагаться в ее почве, боку и кровле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крытые и подземные горные выработки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ные выработки подразделяются на открытые (рис. 3.1) и подземные (рис. 3.2—3.4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 открытым горным выработкам относят копуши, канавы, траншеи, расчистки (рис. 3.1, а, б), карьеры (рис. 3.1, в), разрезы. Их проводят на разных стадиях поисково-разведочных работ и при разработке месторождений полезных ископаемых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Открытые горные выработки">
            <a:extLst>
              <a:ext uri="{FF2B5EF4-FFF2-40B4-BE49-F238E27FC236}">
                <a16:creationId xmlns:a16="http://schemas.microsoft.com/office/drawing/2014/main" xmlns="" id="{DB4F66FE-1ECD-FF57-C872-FEB431883A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492" y="1101494"/>
            <a:ext cx="5370195" cy="313436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554284"/>
            <a:ext cx="604198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геологических съемках и поисках месторождений с целью создания искусственных обнажений и для взятия образцов пород в наносах проводят небольшие ямообразные выработки сечением 0,6 х 0,6 м и глубиной 0,4—0,6 м, называемые копушами. Поскольку глубина такой выработки меньше ее длины (или диаметра), осевая линия располагается горизонтально, а контур поперечного сечения незамкнутый, копуши следует относить к открытым горно-разведочным выработкам 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ис. 3.2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EB1406-CE36-2BAA-6D42-953307004D76}"/>
              </a:ext>
            </a:extLst>
          </p:cNvPr>
          <p:cNvSpPr txBox="1"/>
          <p:nvPr/>
        </p:nvSpPr>
        <p:spPr>
          <a:xfrm>
            <a:off x="5382229" y="5282935"/>
            <a:ext cx="7135790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2 – Схема расположения подземных горных выработок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— ствол шахты; 2 — квершлаги; 3 — слепой ствол; 4 — штреки; 5 — орты; 6 — штольни; 7 — шурфы; 8 — рассечка; 9 — восстающий</a:t>
            </a:r>
          </a:p>
        </p:txBody>
      </p:sp>
      <p:pic>
        <p:nvPicPr>
          <p:cNvPr id="3" name="Рисунок 2" descr="Схема расположения подземных горных выработок">
            <a:extLst>
              <a:ext uri="{FF2B5EF4-FFF2-40B4-BE49-F238E27FC236}">
                <a16:creationId xmlns:a16="http://schemas.microsoft.com/office/drawing/2014/main" xmlns="" id="{6EF04EA9-AE83-D707-723A-183A8AEF0E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9414" y="1819432"/>
            <a:ext cx="4799330" cy="309181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396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425158" y="5549307"/>
            <a:ext cx="4600937" cy="12536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3 – Схема расположения подземных горных выработок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,2, 16 — стволы (вертикальный, наклонный и слепой); 3 — штольня; 4, 7, 9, 14 — штреки (вентиляционный, откаточный, промежуточный и полевой); 5 — орт; 6 — скат; 3, 12, 15 — квершлаги (восточный, околоствольный и западный); 10 — уклон; 11 — камера; 13 — зумпф; 17,23 — ходки (камерный и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ремсберговы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18 — гезенк; 19 — сбойка; 20 — шурф; 21— бремсберг; 22 — просек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1486400"/>
            <a:ext cx="7346475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разведке месторождений полезных ископаемых, наряду с проведением горизонтальных, вертикальных и наклонных выработок, проходят выработки, называемые камерными или камерами. Большинство камер входит в комплекс выработок околоствольного двора. Околоствольный двор — совокупность выработок для соединения шахтного ствола со всеми остальными выработками шахты и для размещения ряда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щешахтных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роизводственных служб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меры различного назначения предназначены для обеспечения нормального функционирования всей системы подземных выработок. К основным в разведочных условиях относятся камеры: сопряжения околоствольного двора со стволом шахты, насосной станции, электроподстанции, электровозного депо, подземного расходного склада ВМ, слесарных мастерских, газоубежища, для размещения станков подземного бурения скважин. Чаще всего размеры камер в сечении не превосходят размеров одно- или двухпутных выработок. Но размеры отдельных из них (насосная, электроподстанция, буровая камера) могут в несколько раз превышать размеры сечений обычных выработок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орма камерных выработок в плане может быть сложной, а поперечное сечение — изменяющимся. Например, форма и размеры камеры для бурения подземных скважин выбираются в зависимости от размеров бурового оборудования и направления бурения. Так, камеры для бурения наклонных и вертикальных скважин имеют более сложную форму, так как над основной камерой размещается ее шатровая часть (рис. 2.3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 descr="Схема расположения подземных горных выработок">
            <a:extLst>
              <a:ext uri="{FF2B5EF4-FFF2-40B4-BE49-F238E27FC236}">
                <a16:creationId xmlns:a16="http://schemas.microsoft.com/office/drawing/2014/main" xmlns="" id="{399033F6-B186-0741-D736-CBEE30FA83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715" y="766968"/>
            <a:ext cx="3948181" cy="469149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024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638081" y="3901132"/>
            <a:ext cx="4722791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4 – Схема расположения подземных горных выработок:</a:t>
            </a:r>
          </a:p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— вертикальный ствол; 2 — восстающий: 3 — шурф; 4 — штольня;  5 — квершлаг; 6 — полевой штрек; 7 — штрек; 8 — орт; 9 — околоствольный двор</a:t>
            </a:r>
          </a:p>
        </p:txBody>
      </p:sp>
      <p:pic>
        <p:nvPicPr>
          <p:cNvPr id="4" name="Рисунок 3" descr="Схема расположения подземных горных выработок">
            <a:extLst>
              <a:ext uri="{FF2B5EF4-FFF2-40B4-BE49-F238E27FC236}">
                <a16:creationId xmlns:a16="http://schemas.microsoft.com/office/drawing/2014/main" xmlns="" id="{4DC63BE3-FCB0-A964-0D3B-7C608A0E88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" y="1185301"/>
            <a:ext cx="5287312" cy="44873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Семиугольник 4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5655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875360" y="5447895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5 – Способы проветривания подземных сооружений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а – нагнетательный; б – всасывающий; в – комбинированный; А-Б-В-Г – участки вентиляционной сети</a:t>
            </a:r>
          </a:p>
          <a:p>
            <a:pPr algn="ctr">
              <a:lnSpc>
                <a:spcPts val="865"/>
              </a:lnSpc>
            </a:pP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907952"/>
            <a:ext cx="5892716" cy="3754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выбор способа вентиляции оказывают влияние следующие основные факторы: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схема вскрытия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порядок отработки шахтного поля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глубина разработки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азообильность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ыработок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величина депрессии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наличие аэродинамической связи с поверхностью или с другими подземными сооружениями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применяемые системы разработки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соотношение аэродинамических сопротивлений крыльев шахты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направление и величина естественной тяги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возможность установки на тех или иных стволах вентиляторов главного проветривания,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•	экономичность (рис. 3.5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19BD7D21-EDE4-112E-2CF8-EA5335B7F4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3228" y="1271104"/>
            <a:ext cx="3505200" cy="3933825"/>
          </a:xfrm>
          <a:prstGeom prst="rect">
            <a:avLst/>
          </a:prstGeom>
          <a:noFill/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335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910083" y="5133836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6 – Классификация погрузочных машин</a:t>
            </a: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77447"/>
            <a:ext cx="6765403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грузка горной массы погрузочными машинами получила наибольшее распространение при проходке выработок. Существует несколько типов погрузочных машин. В качестве основных признаков для их классификации принимают способ захвата горной массы, тип рабочего органа и принцип его действия, характер рабочего процесса. В соответствии с этими признаками погрузочные машины разделяются на несколько типов, каждый из которых имеет соответствующее условное обозначение (рис. 3.6)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Классификация погрузочных машин">
            <a:extLst>
              <a:ext uri="{FF2B5EF4-FFF2-40B4-BE49-F238E27FC236}">
                <a16:creationId xmlns:a16="http://schemas.microsoft.com/office/drawing/2014/main" xmlns="" id="{FE352825-1FFE-A12D-FB6E-840F91E3A8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764" y="1137280"/>
            <a:ext cx="5174615" cy="387921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7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507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048980" y="4306246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7 – Схема водоотлива</a:t>
            </a: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38839"/>
            <a:ext cx="6736466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доотлив - это комплекс мер по удалению воды, поступающей в горные выработки из водоносных пород на поверхность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доотлив при проведении горизонтальных выработок осуществляется с помощью водоотливных канавок. Для обеспечения движения воды по канавкам самотеком почве выработки придается уклон от 0,002 до 0,005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лощадь сеченая канавки 0,05 м2 обеспечивает водоотлив притока воды до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0 м3/час. Вода по канавам поступает в водосборник, где отстаивается, а затем по коллектору поступает в приемный колодец главного водоотлива и насосами главного водоотлива перекачивается на поверхность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06AFEEF-F482-D7E4-C000-8E57276306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1543" y="1372777"/>
            <a:ext cx="3773805" cy="282765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8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087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епление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38838"/>
            <a:ext cx="7540906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ревянную крепь в основном применяют в выработках небольшого сечения и с небольшим сроком службы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ревянные крепи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ревянная крепь – используют преимущественно хвойных пород. Достоинства – небольшая масса, сравнительно небольшая стоимость, легкость обработки на рабочем месте. Простота конструкции, удобна в установке и транспортировке. Недостатки – недолговечность (срок службы 2-3 года, иногда до 5 лет), опасность в пожарном отношении, меньшая прочность по сравнению с другими материалами (рис. 3.8).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1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3971E77-3CC3-EF7F-1B07-4C155718BCBD}"/>
              </a:ext>
            </a:extLst>
          </p:cNvPr>
          <p:cNvSpPr txBox="1"/>
          <p:nvPr/>
        </p:nvSpPr>
        <p:spPr>
          <a:xfrm>
            <a:off x="7471453" y="4825880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3.8 – Сортамент пиленного материала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) распил; б) брусья; в) доски обрезные («затяжка»);г) доски необрезные («затяжка»); д) обаполы (горбыли)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0A5A0B1-BFF2-00D4-000F-891D60EA12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1858" y="2211180"/>
            <a:ext cx="3752850" cy="224663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41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29</TotalTime>
  <Words>1267</Words>
  <Application>Microsoft Office PowerPoint</Application>
  <PresentationFormat>Произвольный</PresentationFormat>
  <Paragraphs>87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  <vt:lpstr>Крепление горных выработок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79</cp:revision>
  <dcterms:created xsi:type="dcterms:W3CDTF">2021-02-16T13:18:42Z</dcterms:created>
  <dcterms:modified xsi:type="dcterms:W3CDTF">2023-11-02T04:3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804958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